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2"/>
  </p:notesMasterIdLst>
  <p:handoutMasterIdLst>
    <p:handoutMasterId r:id="rId123"/>
  </p:handoutMasterIdLst>
  <p:sldIdLst>
    <p:sldId id="1520" r:id="rId9"/>
    <p:sldId id="1548" r:id="rId10"/>
    <p:sldId id="1640" r:id="rId11"/>
    <p:sldId id="1641" r:id="rId12"/>
    <p:sldId id="1706" r:id="rId13"/>
    <p:sldId id="1772" r:id="rId14"/>
    <p:sldId id="1686" r:id="rId15"/>
    <p:sldId id="1687" r:id="rId16"/>
    <p:sldId id="1712" r:id="rId17"/>
    <p:sldId id="1688" r:id="rId18"/>
    <p:sldId id="1708" r:id="rId19"/>
    <p:sldId id="1714" r:id="rId20"/>
    <p:sldId id="1715" r:id="rId21"/>
    <p:sldId id="1716" r:id="rId22"/>
    <p:sldId id="1717" r:id="rId23"/>
    <p:sldId id="1713" r:id="rId24"/>
    <p:sldId id="1709" r:id="rId25"/>
    <p:sldId id="1718" r:id="rId26"/>
    <p:sldId id="1719" r:id="rId27"/>
    <p:sldId id="1720" r:id="rId28"/>
    <p:sldId id="1721" r:id="rId29"/>
    <p:sldId id="1723" r:id="rId30"/>
    <p:sldId id="1710" r:id="rId31"/>
    <p:sldId id="1724" r:id="rId32"/>
    <p:sldId id="1725" r:id="rId33"/>
    <p:sldId id="1726" r:id="rId34"/>
    <p:sldId id="1728" r:id="rId35"/>
    <p:sldId id="1729" r:id="rId36"/>
    <p:sldId id="1730" r:id="rId37"/>
    <p:sldId id="1731" r:id="rId38"/>
    <p:sldId id="1711" r:id="rId39"/>
    <p:sldId id="1732" r:id="rId40"/>
    <p:sldId id="1733" r:id="rId41"/>
    <p:sldId id="1734" r:id="rId42"/>
    <p:sldId id="1735" r:id="rId43"/>
    <p:sldId id="1769" r:id="rId44"/>
    <p:sldId id="1765" r:id="rId45"/>
    <p:sldId id="1644" r:id="rId46"/>
    <p:sldId id="1763" r:id="rId47"/>
    <p:sldId id="1642" r:id="rId48"/>
    <p:sldId id="1675" r:id="rId49"/>
    <p:sldId id="1643" r:id="rId50"/>
    <p:sldId id="1650" r:id="rId51"/>
    <p:sldId id="1646" r:id="rId52"/>
    <p:sldId id="1651" r:id="rId53"/>
    <p:sldId id="1653" r:id="rId54"/>
    <p:sldId id="1648" r:id="rId55"/>
    <p:sldId id="1652" r:id="rId56"/>
    <p:sldId id="1654" r:id="rId57"/>
    <p:sldId id="1649" r:id="rId58"/>
    <p:sldId id="1655" r:id="rId59"/>
    <p:sldId id="1656" r:id="rId60"/>
    <p:sldId id="1657" r:id="rId61"/>
    <p:sldId id="1658" r:id="rId62"/>
    <p:sldId id="1660" r:id="rId63"/>
    <p:sldId id="1685" r:id="rId64"/>
    <p:sldId id="1667" r:id="rId65"/>
    <p:sldId id="1668" r:id="rId66"/>
    <p:sldId id="1669" r:id="rId67"/>
    <p:sldId id="1670" r:id="rId68"/>
    <p:sldId id="1647" r:id="rId69"/>
    <p:sldId id="1661" r:id="rId70"/>
    <p:sldId id="1662" r:id="rId71"/>
    <p:sldId id="1663" r:id="rId72"/>
    <p:sldId id="1676" r:id="rId73"/>
    <p:sldId id="1673" r:id="rId74"/>
    <p:sldId id="1664" r:id="rId75"/>
    <p:sldId id="1665" r:id="rId76"/>
    <p:sldId id="1666" r:id="rId77"/>
    <p:sldId id="1677" r:id="rId78"/>
    <p:sldId id="1678" r:id="rId79"/>
    <p:sldId id="1672" r:id="rId80"/>
    <p:sldId id="1699" r:id="rId81"/>
    <p:sldId id="1700" r:id="rId82"/>
    <p:sldId id="1671" r:id="rId83"/>
    <p:sldId id="1674" r:id="rId84"/>
    <p:sldId id="1680" r:id="rId85"/>
    <p:sldId id="1679" r:id="rId86"/>
    <p:sldId id="1681" r:id="rId87"/>
    <p:sldId id="1684" r:id="rId88"/>
    <p:sldId id="1682" r:id="rId89"/>
    <p:sldId id="1701" r:id="rId90"/>
    <p:sldId id="1736" r:id="rId91"/>
    <p:sldId id="1738" r:id="rId92"/>
    <p:sldId id="1739" r:id="rId93"/>
    <p:sldId id="1741" r:id="rId94"/>
    <p:sldId id="1742" r:id="rId95"/>
    <p:sldId id="1743" r:id="rId96"/>
    <p:sldId id="1744" r:id="rId97"/>
    <p:sldId id="1745" r:id="rId98"/>
    <p:sldId id="1746" r:id="rId99"/>
    <p:sldId id="1747" r:id="rId100"/>
    <p:sldId id="1768" r:id="rId101"/>
    <p:sldId id="1766" r:id="rId102"/>
    <p:sldId id="1702" r:id="rId103"/>
    <p:sldId id="1764" r:id="rId104"/>
    <p:sldId id="1748" r:id="rId105"/>
    <p:sldId id="1749" r:id="rId106"/>
    <p:sldId id="1753" r:id="rId107"/>
    <p:sldId id="1751" r:id="rId108"/>
    <p:sldId id="1750" r:id="rId109"/>
    <p:sldId id="1754" r:id="rId110"/>
    <p:sldId id="1755" r:id="rId111"/>
    <p:sldId id="1756" r:id="rId112"/>
    <p:sldId id="1757" r:id="rId113"/>
    <p:sldId id="1758" r:id="rId114"/>
    <p:sldId id="1759" r:id="rId115"/>
    <p:sldId id="1760" r:id="rId116"/>
    <p:sldId id="1762" r:id="rId117"/>
    <p:sldId id="1761" r:id="rId118"/>
    <p:sldId id="1771" r:id="rId119"/>
    <p:sldId id="1770" r:id="rId120"/>
    <p:sldId id="1547" r:id="rId12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772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F50"/>
    <a:srgbClr val="F2F2F2"/>
    <a:srgbClr val="1C1C1C"/>
    <a:srgbClr val="252525"/>
    <a:srgbClr val="008BF0"/>
    <a:srgbClr val="107C10"/>
    <a:srgbClr val="000000"/>
    <a:srgbClr val="FFFFFF"/>
    <a:srgbClr val="0078D7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01" autoAdjust="0"/>
    <p:restoredTop sz="95361" autoAdjust="0"/>
  </p:normalViewPr>
  <p:slideViewPr>
    <p:cSldViewPr>
      <p:cViewPr varScale="1">
        <p:scale>
          <a:sx n="78" d="100"/>
          <a:sy n="78" d="100"/>
        </p:scale>
        <p:origin x="168" y="4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handoutMaster" Target="handoutMasters/handoutMaster1.xml"/><Relationship Id="rId12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commentAuthors" Target="commentAuthors.xml"/><Relationship Id="rId129" Type="http://schemas.microsoft.com/office/2016/11/relationships/changesInfo" Target="changesInfos/changesInfo1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heme" Target="theme/theme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26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9/17 10:22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9/17 10:22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9/17 10:22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17 10:22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17 10:2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17 10:22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7.png"/><Relationship Id="rId26" Type="http://schemas.openxmlformats.org/officeDocument/2006/relationships/image" Target="../media/image41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5.jpeg"/><Relationship Id="rId42" Type="http://schemas.openxmlformats.org/officeDocument/2006/relationships/image" Target="../media/image49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3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6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40.jpeg"/><Relationship Id="rId32" Type="http://schemas.openxmlformats.org/officeDocument/2006/relationships/image" Target="../media/image44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8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2.jpeg"/><Relationship Id="rId36" Type="http://schemas.openxmlformats.org/officeDocument/2006/relationships/image" Target="../media/image46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3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50.jpeg"/><Relationship Id="rId4" Type="http://schemas.openxmlformats.org/officeDocument/2006/relationships/image" Target="../media/image30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5.png"/><Relationship Id="rId22" Type="http://schemas.openxmlformats.org/officeDocument/2006/relationships/image" Target="../media/image39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3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2.png"/><Relationship Id="rId8" Type="http://schemas.openxmlformats.org/officeDocument/2006/relationships/image" Target="../media/image32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4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7.jpeg"/><Relationship Id="rId46" Type="http://schemas.openxmlformats.org/officeDocument/2006/relationships/image" Target="../media/image51.jpeg"/><Relationship Id="rId20" Type="http://schemas.openxmlformats.org/officeDocument/2006/relationships/image" Target="../media/image38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1.jpe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206.tiff"/><Relationship Id="rId4" Type="http://schemas.openxmlformats.org/officeDocument/2006/relationships/image" Target="../media/image205.pn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image" Target="../media/image60.emf"/><Relationship Id="rId10" Type="http://schemas.openxmlformats.org/officeDocument/2006/relationships/image" Target="../media/image65.png"/><Relationship Id="rId4" Type="http://schemas.openxmlformats.org/officeDocument/2006/relationships/image" Target="../media/image59.emf"/><Relationship Id="rId9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3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94.png"/><Relationship Id="rId18" Type="http://schemas.openxmlformats.org/officeDocument/2006/relationships/image" Target="../media/image99.png"/><Relationship Id="rId26" Type="http://schemas.openxmlformats.org/officeDocument/2006/relationships/image" Target="../media/image106.png"/><Relationship Id="rId3" Type="http://schemas.openxmlformats.org/officeDocument/2006/relationships/image" Target="../media/image85.png"/><Relationship Id="rId21" Type="http://schemas.openxmlformats.org/officeDocument/2006/relationships/image" Target="../media/image101.png"/><Relationship Id="rId7" Type="http://schemas.openxmlformats.org/officeDocument/2006/relationships/image" Target="../media/image89.png"/><Relationship Id="rId12" Type="http://schemas.openxmlformats.org/officeDocument/2006/relationships/image" Target="../media/image93.png"/><Relationship Id="rId17" Type="http://schemas.openxmlformats.org/officeDocument/2006/relationships/image" Target="../media/image98.jpeg"/><Relationship Id="rId25" Type="http://schemas.openxmlformats.org/officeDocument/2006/relationships/image" Target="../media/image105.png"/><Relationship Id="rId2" Type="http://schemas.openxmlformats.org/officeDocument/2006/relationships/image" Target="../media/image84.png"/><Relationship Id="rId16" Type="http://schemas.openxmlformats.org/officeDocument/2006/relationships/image" Target="../media/image97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8.png"/><Relationship Id="rId11" Type="http://schemas.openxmlformats.org/officeDocument/2006/relationships/image" Target="../media/image92.png"/><Relationship Id="rId24" Type="http://schemas.openxmlformats.org/officeDocument/2006/relationships/image" Target="../media/image104.png"/><Relationship Id="rId5" Type="http://schemas.openxmlformats.org/officeDocument/2006/relationships/image" Target="../media/image87.png"/><Relationship Id="rId15" Type="http://schemas.openxmlformats.org/officeDocument/2006/relationships/image" Target="../media/image96.png"/><Relationship Id="rId23" Type="http://schemas.openxmlformats.org/officeDocument/2006/relationships/image" Target="../media/image103.png"/><Relationship Id="rId10" Type="http://schemas.openxmlformats.org/officeDocument/2006/relationships/image" Target="../media/image91.png"/><Relationship Id="rId19" Type="http://schemas.microsoft.com/office/2007/relationships/hdphoto" Target="../media/hdphoto2.wdp"/><Relationship Id="rId4" Type="http://schemas.openxmlformats.org/officeDocument/2006/relationships/image" Target="../media/image86.png"/><Relationship Id="rId9" Type="http://schemas.openxmlformats.org/officeDocument/2006/relationships/image" Target="../media/image90.png"/><Relationship Id="rId14" Type="http://schemas.openxmlformats.org/officeDocument/2006/relationships/image" Target="../media/image95.png"/><Relationship Id="rId22" Type="http://schemas.openxmlformats.org/officeDocument/2006/relationships/image" Target="../media/image10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3" Type="http://schemas.openxmlformats.org/officeDocument/2006/relationships/image" Target="../media/image116.png"/><Relationship Id="rId7" Type="http://schemas.openxmlformats.org/officeDocument/2006/relationships/image" Target="../media/image120.svg"/><Relationship Id="rId12" Type="http://schemas.openxmlformats.org/officeDocument/2006/relationships/image" Target="../media/image125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9.png"/><Relationship Id="rId11" Type="http://schemas.openxmlformats.org/officeDocument/2006/relationships/image" Target="../media/image124.png"/><Relationship Id="rId5" Type="http://schemas.openxmlformats.org/officeDocument/2006/relationships/image" Target="../media/image118.png"/><Relationship Id="rId15" Type="http://schemas.openxmlformats.org/officeDocument/2006/relationships/image" Target="../media/image128.png"/><Relationship Id="rId10" Type="http://schemas.openxmlformats.org/officeDocument/2006/relationships/image" Target="../media/image123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Relationship Id="rId14" Type="http://schemas.openxmlformats.org/officeDocument/2006/relationships/image" Target="../media/image127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4.pn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0" Type="http://schemas.openxmlformats.org/officeDocument/2006/relationships/image" Target="../media/image138.png"/><Relationship Id="rId4" Type="http://schemas.openxmlformats.org/officeDocument/2006/relationships/image" Target="../media/image132.png"/><Relationship Id="rId9" Type="http://schemas.openxmlformats.org/officeDocument/2006/relationships/image" Target="../media/image13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49.png"/><Relationship Id="rId3" Type="http://schemas.openxmlformats.org/officeDocument/2006/relationships/image" Target="../media/image140.jpeg"/><Relationship Id="rId7" Type="http://schemas.openxmlformats.org/officeDocument/2006/relationships/image" Target="../media/image144.png"/><Relationship Id="rId12" Type="http://schemas.openxmlformats.org/officeDocument/2006/relationships/image" Target="../media/image148.png"/><Relationship Id="rId17" Type="http://schemas.openxmlformats.org/officeDocument/2006/relationships/image" Target="../media/image152.png"/><Relationship Id="rId2" Type="http://schemas.openxmlformats.org/officeDocument/2006/relationships/notesSlide" Target="../notesSlides/notesSlide30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3.png"/><Relationship Id="rId11" Type="http://schemas.microsoft.com/office/2007/relationships/hdphoto" Target="../media/hdphoto4.wdp"/><Relationship Id="rId5" Type="http://schemas.openxmlformats.org/officeDocument/2006/relationships/image" Target="../media/image142.png"/><Relationship Id="rId15" Type="http://schemas.openxmlformats.org/officeDocument/2006/relationships/image" Target="../media/image151.png"/><Relationship Id="rId10" Type="http://schemas.openxmlformats.org/officeDocument/2006/relationships/image" Target="../media/image147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9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asabbourfeedbackapi.azurewebsites.net/" TargetMode="External"/><Relationship Id="rId2" Type="http://schemas.openxmlformats.org/officeDocument/2006/relationships/hyperlink" Target="https://asabbourfeedbackweb.azurewebsites.net/" TargetMode="External"/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e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9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endpoint as the </a:t>
            </a:r>
            <a:r>
              <a:rPr lang="en-US"/>
              <a:t>Site URL</a:t>
            </a:r>
            <a:br>
              <a:rPr lang="en-US" dirty="0"/>
            </a:br>
            <a:r>
              <a:rPr lang="en-US" sz="3200" dirty="0">
                <a:latin typeface="Consolas" charset="0"/>
                <a:cs typeface="Consolas" charset="0"/>
              </a:rPr>
              <a:t>https://</a:t>
            </a:r>
            <a:r>
              <a:rPr lang="en-US" sz="3200" i="1" dirty="0">
                <a:latin typeface="Consolas" charset="0"/>
                <a:cs typeface="Consolas" charset="0"/>
              </a:rPr>
              <a:t>[region]</a:t>
            </a:r>
            <a:r>
              <a:rPr lang="en-US" sz="3200" dirty="0">
                <a:latin typeface="Consolas" charset="0"/>
                <a:cs typeface="Consolas" charset="0"/>
              </a:rPr>
              <a:t>.</a:t>
            </a:r>
            <a:r>
              <a:rPr lang="en-US" sz="3200" dirty="0" err="1">
                <a:latin typeface="Consolas" charset="0"/>
                <a:cs typeface="Consolas" charset="0"/>
              </a:rPr>
              <a:t>api.cognitive.microsoft.com</a:t>
            </a:r>
            <a:endParaRPr lang="en-US" dirty="0">
              <a:latin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066DA2-5DE6-9645-8875-76D8CF1895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9156" y="4574167"/>
            <a:ext cx="4818163" cy="2263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8438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 cstate="screen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-1468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 cstate="screen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 cstate="screen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3423" b="100000" l="0" r="100000">
                        <a14:foregroundMark x1="60377" y1="68121" x2="60377" y2="68121"/>
                        <a14:foregroundMark x1="22264" y1="55369" x2="22264" y2="55369"/>
                        <a14:foregroundMark x1="58868" y1="62416" x2="58868" y2="62416"/>
                        <a14:foregroundMark x1="21132" y1="56040" x2="21132" y2="56040"/>
                        <a14:foregroundMark x1="49434" y1="31879" x2="49434" y2="3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07579"/>
          </a:xfrm>
        </p:spPr>
        <p:txBody>
          <a:bodyPr/>
          <a:lstStyle/>
          <a:p>
            <a:pPr lvl="1"/>
            <a:r>
              <a:rPr lang="en-US" sz="3600" dirty="0">
                <a:latin typeface="+mj-lt"/>
              </a:rPr>
              <a:t>Download the lab guide (if you want)</a:t>
            </a:r>
            <a:br>
              <a:rPr lang="en-US" dirty="0"/>
            </a:br>
            <a: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</a:rPr>
              <a:t> </a:t>
            </a:r>
            <a:b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</a:rPr>
            </a:b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619DFE-E6E7-E945-B142-D6C31D6BB74D}"/>
              </a:ext>
            </a:extLst>
          </p:cNvPr>
          <p:cNvSpPr txBox="1"/>
          <p:nvPr/>
        </p:nvSpPr>
        <p:spPr>
          <a:xfrm>
            <a:off x="7285037" y="295274"/>
            <a:ext cx="3847272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iFi</a:t>
            </a:r>
            <a:r>
              <a:rPr lang="en-US" sz="3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de: VQP2YV</a:t>
            </a:r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F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C0FD5-98B7-D24A-91B0-2BFFC27D6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94B54B-972B-4D47-B722-12C655C6E2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638" y="3192462"/>
            <a:ext cx="11506199" cy="1957459"/>
          </a:xfrm>
        </p:spPr>
        <p:txBody>
          <a:bodyPr/>
          <a:lstStyle/>
          <a:p>
            <a:r>
              <a:rPr lang="en-US" sz="4000" dirty="0"/>
              <a:t>Customer Feedback System</a:t>
            </a:r>
          </a:p>
          <a:p>
            <a:r>
              <a:rPr lang="en-US" sz="4000" dirty="0">
                <a:solidFill>
                  <a:schemeClr val="tx1"/>
                </a:solidFill>
                <a:hlinkClick r:id="rId2"/>
              </a:rPr>
              <a:t>https://asabbourfeedbackweb.azurewebsites.net</a:t>
            </a:r>
            <a:endParaRPr lang="en-US" sz="4000" dirty="0">
              <a:solidFill>
                <a:schemeClr val="tx1"/>
              </a:solidFill>
            </a:endParaRPr>
          </a:p>
          <a:p>
            <a:r>
              <a:rPr lang="en-US" sz="4000" dirty="0">
                <a:solidFill>
                  <a:schemeClr val="tx1"/>
                </a:solidFill>
                <a:hlinkClick r:id="rId3"/>
              </a:rPr>
              <a:t>http://asabbourfeedbackapi.azurewebsites.net</a:t>
            </a:r>
            <a:r>
              <a:rPr lang="en-US" sz="4000" dirty="0">
                <a:solidFill>
                  <a:schemeClr val="tx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090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6226</TotalTime>
  <Words>3400</Words>
  <Application>Microsoft Macintosh PowerPoint</Application>
  <PresentationFormat>Custom</PresentationFormat>
  <Paragraphs>778</Paragraphs>
  <Slides>113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3</vt:i4>
      </vt:variant>
    </vt:vector>
  </HeadingPairs>
  <TitlesOfParts>
    <vt:vector size="130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Demo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209</cp:revision>
  <dcterms:created xsi:type="dcterms:W3CDTF">2017-07-30T07:40:57Z</dcterms:created>
  <dcterms:modified xsi:type="dcterms:W3CDTF">2017-10-29T07:3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